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1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73.xml" ContentType="application/vnd.openxmlformats-officedocument.presentationml.tags+xml"/>
  <Override PartName="/ppt/notesSlides/notesSlide11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41" r:id="rId11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10.xml" Id="rId113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0.xml.rels>&#65279;<?xml version="1.0" encoding="utf-8"?><Relationships xmlns="http://schemas.openxmlformats.org/package/2006/relationships"><Relationship Type="http://schemas.openxmlformats.org/officeDocument/2006/relationships/slide" Target="/ppt/slides/slide110.xml" Id="rId2" /><Relationship Type="http://schemas.openxmlformats.org/officeDocument/2006/relationships/notesMaster" Target="/ppt/notesMasters/notesMaster1.xml" Id="rId1" /></Relationship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19F163-1FA0-F4CF-D1E6-BF495E6FBD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F728A0-451E-9CFD-AD83-008C873C63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B4768B-327E-0065-5A1F-5AD908C8B0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B34CFF-34E2-E4C9-17D8-AD380EE688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7633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73.xml" Id="rId2" /><Relationship Type="http://schemas.openxmlformats.org/officeDocument/2006/relationships/vmlDrawing" Target="/ppt/drawings/vmlDrawing11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14.bin" Id="rId5" /><Relationship Type="http://schemas.openxmlformats.org/officeDocument/2006/relationships/notesSlide" Target="/ppt/notesSlides/notesSlide110.xml" Id="rId4" /></Relationships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59CEA585-124A-C394-EE88-EE700B9EB4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AAD9D36-0012-24EA-0026-BF9C2AB34D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86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AD9D36-0012-24EA-0026-BF9C2AB34D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3">
            <a:extLst>
              <a:ext uri="{FF2B5EF4-FFF2-40B4-BE49-F238E27FC236}">
                <a16:creationId xmlns:a16="http://schemas.microsoft.com/office/drawing/2014/main" id="{DC8628BC-980C-A612-D4EA-EFA2553AD8CC}"/>
              </a:ext>
            </a:extLst>
          </p:cNvPr>
          <p:cNvSpPr>
            <a:spLocks/>
          </p:cNvSpPr>
          <p:nvPr/>
        </p:nvSpPr>
        <p:spPr>
          <a:xfrm>
            <a:off x="2919422" y="5510875"/>
            <a:ext cx="6300435" cy="547025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</a:pPr>
            <a:endParaRPr lang="en-US" altLang="de-DE" sz="1200">
              <a:solidFill>
                <a:srgbClr val="000000"/>
              </a:solidFill>
            </a:endParaRPr>
          </a:p>
        </p:txBody>
      </p:sp>
      <p:sp>
        <p:nvSpPr>
          <p:cNvPr id="4" name="Rechteck 87">
            <a:extLst>
              <a:ext uri="{FF2B5EF4-FFF2-40B4-BE49-F238E27FC236}">
                <a16:creationId xmlns:a16="http://schemas.microsoft.com/office/drawing/2014/main" id="{3470BBD4-CAAA-9DD6-42FE-93C04505CA16}"/>
              </a:ext>
            </a:extLst>
          </p:cNvPr>
          <p:cNvSpPr>
            <a:spLocks/>
          </p:cNvSpPr>
          <p:nvPr/>
        </p:nvSpPr>
        <p:spPr>
          <a:xfrm>
            <a:off x="3440808" y="4929020"/>
            <a:ext cx="5257664" cy="46134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  <a:defRPr/>
            </a:pPr>
            <a:endParaRPr lang="en-US" altLang="de-DE" sz="1200">
              <a:solidFill>
                <a:srgbClr val="000000"/>
              </a:solidFill>
            </a:endParaRPr>
          </a:p>
        </p:txBody>
      </p:sp>
      <p:sp>
        <p:nvSpPr>
          <p:cNvPr id="6" name="Rechteck 90">
            <a:extLst>
              <a:ext uri="{FF2B5EF4-FFF2-40B4-BE49-F238E27FC236}">
                <a16:creationId xmlns:a16="http://schemas.microsoft.com/office/drawing/2014/main" id="{3F47E12E-7F20-A587-2867-305348A67E1D}"/>
              </a:ext>
            </a:extLst>
          </p:cNvPr>
          <p:cNvSpPr>
            <a:spLocks/>
          </p:cNvSpPr>
          <p:nvPr/>
        </p:nvSpPr>
        <p:spPr>
          <a:xfrm>
            <a:off x="3900852" y="4433512"/>
            <a:ext cx="4337574" cy="395434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  <a:defRPr/>
            </a:pPr>
            <a:endParaRPr lang="en-US" altLang="de-DE" sz="1200">
              <a:solidFill>
                <a:srgbClr val="000000"/>
              </a:solidFill>
            </a:endParaRPr>
          </a:p>
        </p:txBody>
      </p:sp>
      <p:sp>
        <p:nvSpPr>
          <p:cNvPr id="7" name="Rechteck 108">
            <a:extLst>
              <a:ext uri="{FF2B5EF4-FFF2-40B4-BE49-F238E27FC236}">
                <a16:creationId xmlns:a16="http://schemas.microsoft.com/office/drawing/2014/main" id="{4F1BB7A8-7901-4501-4DB6-59A75B0557FC}"/>
              </a:ext>
            </a:extLst>
          </p:cNvPr>
          <p:cNvSpPr>
            <a:spLocks/>
          </p:cNvSpPr>
          <p:nvPr/>
        </p:nvSpPr>
        <p:spPr>
          <a:xfrm>
            <a:off x="4284163" y="4037030"/>
            <a:ext cx="3570952" cy="350763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  <a:defRPr/>
            </a:pPr>
            <a:endParaRPr lang="en-US" altLang="de-DE" sz="1200">
              <a:solidFill>
                <a:srgbClr val="000000"/>
              </a:solidFill>
            </a:endParaRPr>
          </a:p>
        </p:txBody>
      </p:sp>
      <p:sp>
        <p:nvSpPr>
          <p:cNvPr id="8" name="Rechteck 113">
            <a:extLst>
              <a:ext uri="{FF2B5EF4-FFF2-40B4-BE49-F238E27FC236}">
                <a16:creationId xmlns:a16="http://schemas.microsoft.com/office/drawing/2014/main" id="{4B24F27B-008C-E34C-FFFE-8CA76B6C1F7B}"/>
              </a:ext>
            </a:extLst>
          </p:cNvPr>
          <p:cNvSpPr>
            <a:spLocks/>
          </p:cNvSpPr>
          <p:nvPr/>
        </p:nvSpPr>
        <p:spPr>
          <a:xfrm>
            <a:off x="4693885" y="3720741"/>
            <a:ext cx="2751511" cy="28774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  <a:defRPr/>
            </a:pPr>
            <a:endParaRPr lang="en-US" altLang="de-DE" sz="1200">
              <a:solidFill>
                <a:srgbClr val="000000"/>
              </a:solidFill>
            </a:endParaRPr>
          </a:p>
        </p:txBody>
      </p:sp>
      <p:sp>
        <p:nvSpPr>
          <p:cNvPr id="9" name="Rechteck 114">
            <a:extLst>
              <a:ext uri="{FF2B5EF4-FFF2-40B4-BE49-F238E27FC236}">
                <a16:creationId xmlns:a16="http://schemas.microsoft.com/office/drawing/2014/main" id="{2DDDE635-C983-6C6C-575A-0F65F66DDFBB}"/>
              </a:ext>
            </a:extLst>
          </p:cNvPr>
          <p:cNvSpPr>
            <a:spLocks/>
          </p:cNvSpPr>
          <p:nvPr/>
        </p:nvSpPr>
        <p:spPr>
          <a:xfrm>
            <a:off x="4998685" y="3479429"/>
            <a:ext cx="2143430" cy="230299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  <a:defRPr/>
            </a:pPr>
            <a:endParaRPr lang="en-US" altLang="de-DE" sz="1200">
              <a:solidFill>
                <a:srgbClr val="000000"/>
              </a:solidFill>
            </a:endParaRPr>
          </a:p>
        </p:txBody>
      </p:sp>
      <p:sp>
        <p:nvSpPr>
          <p:cNvPr id="11" name="Freihandform 26">
            <a:extLst>
              <a:ext uri="{FF2B5EF4-FFF2-40B4-BE49-F238E27FC236}">
                <a16:creationId xmlns:a16="http://schemas.microsoft.com/office/drawing/2014/main" id="{1D78097A-4539-25F0-FBE1-C034E4D8C8D4}"/>
              </a:ext>
            </a:extLst>
          </p:cNvPr>
          <p:cNvSpPr>
            <a:spLocks/>
          </p:cNvSpPr>
          <p:nvPr/>
        </p:nvSpPr>
        <p:spPr>
          <a:xfrm>
            <a:off x="2918996" y="5390360"/>
            <a:ext cx="6301287" cy="120515"/>
          </a:xfrm>
          <a:custGeom>
            <a:avLst/>
            <a:gdLst>
              <a:gd name="connsiteX0" fmla="*/ 0 w 6032500"/>
              <a:gd name="connsiteY0" fmla="*/ 139700 h 139700"/>
              <a:gd name="connsiteX1" fmla="*/ 501650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2500" h="139700">
                <a:moveTo>
                  <a:pt x="0" y="139700"/>
                </a:moveTo>
                <a:lnTo>
                  <a:pt x="501650" y="0"/>
                </a:lnTo>
                <a:lnTo>
                  <a:pt x="5537200" y="0"/>
                </a:lnTo>
                <a:lnTo>
                  <a:pt x="6032500" y="139700"/>
                </a:lnTo>
              </a:path>
            </a:pathLst>
          </a:custGeom>
          <a:solidFill>
            <a:schemeClr val="bg2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2" name="Freihandform 115">
            <a:extLst>
              <a:ext uri="{FF2B5EF4-FFF2-40B4-BE49-F238E27FC236}">
                <a16:creationId xmlns:a16="http://schemas.microsoft.com/office/drawing/2014/main" id="{1977F40D-7034-CB10-13D0-83D2F4260386}"/>
              </a:ext>
            </a:extLst>
          </p:cNvPr>
          <p:cNvSpPr>
            <a:spLocks/>
          </p:cNvSpPr>
          <p:nvPr/>
        </p:nvSpPr>
        <p:spPr>
          <a:xfrm>
            <a:off x="3440808" y="4828946"/>
            <a:ext cx="5257664" cy="100074"/>
          </a:xfrm>
          <a:custGeom>
            <a:avLst/>
            <a:gdLst>
              <a:gd name="connsiteX0" fmla="*/ 0 w 6032500"/>
              <a:gd name="connsiteY0" fmla="*/ 139700 h 139700"/>
              <a:gd name="connsiteX1" fmla="*/ 501650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47312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521979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491537 w 6032500"/>
              <a:gd name="connsiteY2" fmla="*/ 8329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491537 w 6032500"/>
              <a:gd name="connsiteY2" fmla="*/ 2082 h 139700"/>
              <a:gd name="connsiteX3" fmla="*/ 6032500 w 6032500"/>
              <a:gd name="connsiteY3" fmla="*/ 139700 h 139700"/>
              <a:gd name="connsiteX0" fmla="*/ 0 w 6032500"/>
              <a:gd name="connsiteY0" fmla="*/ 140510 h 140510"/>
              <a:gd name="connsiteX1" fmla="*/ 532091 w 6032500"/>
              <a:gd name="connsiteY1" fmla="*/ 810 h 140510"/>
              <a:gd name="connsiteX2" fmla="*/ 5502110 w 6032500"/>
              <a:gd name="connsiteY2" fmla="*/ 0 h 140510"/>
              <a:gd name="connsiteX3" fmla="*/ 6032500 w 6032500"/>
              <a:gd name="connsiteY3" fmla="*/ 140510 h 140510"/>
              <a:gd name="connsiteX0" fmla="*/ 0 w 6032500"/>
              <a:gd name="connsiteY0" fmla="*/ 143404 h 143404"/>
              <a:gd name="connsiteX1" fmla="*/ 532091 w 6032500"/>
              <a:gd name="connsiteY1" fmla="*/ 3704 h 143404"/>
              <a:gd name="connsiteX2" fmla="*/ 5502110 w 6032500"/>
              <a:gd name="connsiteY2" fmla="*/ 0 h 143404"/>
              <a:gd name="connsiteX3" fmla="*/ 6032500 w 6032500"/>
              <a:gd name="connsiteY3" fmla="*/ 143404 h 143404"/>
              <a:gd name="connsiteX0" fmla="*/ 0 w 6032500"/>
              <a:gd name="connsiteY0" fmla="*/ 143404 h 143404"/>
              <a:gd name="connsiteX1" fmla="*/ 529996 w 6032500"/>
              <a:gd name="connsiteY1" fmla="*/ 812 h 143404"/>
              <a:gd name="connsiteX2" fmla="*/ 5502110 w 6032500"/>
              <a:gd name="connsiteY2" fmla="*/ 0 h 143404"/>
              <a:gd name="connsiteX3" fmla="*/ 6032500 w 6032500"/>
              <a:gd name="connsiteY3" fmla="*/ 143404 h 143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2500" h="143404">
                <a:moveTo>
                  <a:pt x="0" y="143404"/>
                </a:moveTo>
                <a:lnTo>
                  <a:pt x="529996" y="812"/>
                </a:lnTo>
                <a:lnTo>
                  <a:pt x="5502110" y="0"/>
                </a:lnTo>
                <a:lnTo>
                  <a:pt x="6032500" y="143404"/>
                </a:lnTo>
              </a:path>
            </a:pathLst>
          </a:custGeom>
          <a:solidFill>
            <a:schemeClr val="bg2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3" name="Freihandform 116">
            <a:extLst>
              <a:ext uri="{FF2B5EF4-FFF2-40B4-BE49-F238E27FC236}">
                <a16:creationId xmlns:a16="http://schemas.microsoft.com/office/drawing/2014/main" id="{2551F818-7C5D-EB94-9A34-AA8BF6CF98D0}"/>
              </a:ext>
            </a:extLst>
          </p:cNvPr>
          <p:cNvSpPr>
            <a:spLocks/>
          </p:cNvSpPr>
          <p:nvPr/>
        </p:nvSpPr>
        <p:spPr>
          <a:xfrm>
            <a:off x="3900852" y="4387793"/>
            <a:ext cx="4337574" cy="45719"/>
          </a:xfrm>
          <a:custGeom>
            <a:avLst/>
            <a:gdLst>
              <a:gd name="connsiteX0" fmla="*/ 0 w 6032500"/>
              <a:gd name="connsiteY0" fmla="*/ 139700 h 139700"/>
              <a:gd name="connsiteX1" fmla="*/ 501650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47312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521979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491537 w 6032500"/>
              <a:gd name="connsiteY2" fmla="*/ 8329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491537 w 6032500"/>
              <a:gd name="connsiteY2" fmla="*/ 2082 h 139700"/>
              <a:gd name="connsiteX3" fmla="*/ 6032500 w 6032500"/>
              <a:gd name="connsiteY3" fmla="*/ 139700 h 13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2500" h="139700">
                <a:moveTo>
                  <a:pt x="0" y="139700"/>
                </a:moveTo>
                <a:lnTo>
                  <a:pt x="532091" y="0"/>
                </a:lnTo>
                <a:lnTo>
                  <a:pt x="5491537" y="2082"/>
                </a:lnTo>
                <a:lnTo>
                  <a:pt x="6032500" y="139700"/>
                </a:lnTo>
              </a:path>
            </a:pathLst>
          </a:custGeom>
          <a:solidFill>
            <a:schemeClr val="bg2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4" name="Freihandform 117">
            <a:extLst>
              <a:ext uri="{FF2B5EF4-FFF2-40B4-BE49-F238E27FC236}">
                <a16:creationId xmlns:a16="http://schemas.microsoft.com/office/drawing/2014/main" id="{4F7E15AF-E8F4-D990-FF48-5CCABEEBCB21}"/>
              </a:ext>
            </a:extLst>
          </p:cNvPr>
          <p:cNvSpPr>
            <a:spLocks/>
          </p:cNvSpPr>
          <p:nvPr/>
        </p:nvSpPr>
        <p:spPr>
          <a:xfrm>
            <a:off x="4284163" y="4008489"/>
            <a:ext cx="3570952" cy="28541"/>
          </a:xfrm>
          <a:custGeom>
            <a:avLst/>
            <a:gdLst>
              <a:gd name="connsiteX0" fmla="*/ 0 w 6032500"/>
              <a:gd name="connsiteY0" fmla="*/ 139700 h 139700"/>
              <a:gd name="connsiteX1" fmla="*/ 501650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47312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521979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491537 w 6032500"/>
              <a:gd name="connsiteY2" fmla="*/ 8329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491537 w 6032500"/>
              <a:gd name="connsiteY2" fmla="*/ 2082 h 139700"/>
              <a:gd name="connsiteX3" fmla="*/ 6032500 w 6032500"/>
              <a:gd name="connsiteY3" fmla="*/ 139700 h 139700"/>
              <a:gd name="connsiteX0" fmla="*/ 0 w 6032500"/>
              <a:gd name="connsiteY0" fmla="*/ 151250 h 151250"/>
              <a:gd name="connsiteX1" fmla="*/ 725379 w 6032500"/>
              <a:gd name="connsiteY1" fmla="*/ 0 h 151250"/>
              <a:gd name="connsiteX2" fmla="*/ 5491537 w 6032500"/>
              <a:gd name="connsiteY2" fmla="*/ 13632 h 151250"/>
              <a:gd name="connsiteX3" fmla="*/ 6032500 w 6032500"/>
              <a:gd name="connsiteY3" fmla="*/ 151250 h 151250"/>
              <a:gd name="connsiteX0" fmla="*/ 0 w 6032500"/>
              <a:gd name="connsiteY0" fmla="*/ 151250 h 151250"/>
              <a:gd name="connsiteX1" fmla="*/ 725379 w 6032500"/>
              <a:gd name="connsiteY1" fmla="*/ 0 h 151250"/>
              <a:gd name="connsiteX2" fmla="*/ 5361278 w 6032500"/>
              <a:gd name="connsiteY2" fmla="*/ 13630 h 151250"/>
              <a:gd name="connsiteX3" fmla="*/ 6032500 w 6032500"/>
              <a:gd name="connsiteY3" fmla="*/ 151250 h 15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2500" h="151250">
                <a:moveTo>
                  <a:pt x="0" y="151250"/>
                </a:moveTo>
                <a:lnTo>
                  <a:pt x="725379" y="0"/>
                </a:lnTo>
                <a:lnTo>
                  <a:pt x="5361278" y="13630"/>
                </a:lnTo>
                <a:lnTo>
                  <a:pt x="6032500" y="151250"/>
                </a:lnTo>
              </a:path>
            </a:pathLst>
          </a:custGeom>
          <a:solidFill>
            <a:schemeClr val="bg2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5" name="Freihandform 118">
            <a:extLst>
              <a:ext uri="{FF2B5EF4-FFF2-40B4-BE49-F238E27FC236}">
                <a16:creationId xmlns:a16="http://schemas.microsoft.com/office/drawing/2014/main" id="{EBF8C557-5BE3-BA11-5320-AA0464418861}"/>
              </a:ext>
            </a:extLst>
          </p:cNvPr>
          <p:cNvSpPr>
            <a:spLocks/>
          </p:cNvSpPr>
          <p:nvPr/>
        </p:nvSpPr>
        <p:spPr>
          <a:xfrm>
            <a:off x="4693884" y="3709728"/>
            <a:ext cx="2751511" cy="11013"/>
          </a:xfrm>
          <a:custGeom>
            <a:avLst/>
            <a:gdLst>
              <a:gd name="connsiteX0" fmla="*/ 0 w 6032500"/>
              <a:gd name="connsiteY0" fmla="*/ 139700 h 139700"/>
              <a:gd name="connsiteX1" fmla="*/ 501650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47312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537200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521979 w 6032500"/>
              <a:gd name="connsiteY2" fmla="*/ 0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491537 w 6032500"/>
              <a:gd name="connsiteY2" fmla="*/ 8329 h 139700"/>
              <a:gd name="connsiteX3" fmla="*/ 6032500 w 6032500"/>
              <a:gd name="connsiteY3" fmla="*/ 139700 h 139700"/>
              <a:gd name="connsiteX0" fmla="*/ 0 w 6032500"/>
              <a:gd name="connsiteY0" fmla="*/ 139700 h 139700"/>
              <a:gd name="connsiteX1" fmla="*/ 532091 w 6032500"/>
              <a:gd name="connsiteY1" fmla="*/ 0 h 139700"/>
              <a:gd name="connsiteX2" fmla="*/ 5491537 w 6032500"/>
              <a:gd name="connsiteY2" fmla="*/ 2082 h 139700"/>
              <a:gd name="connsiteX3" fmla="*/ 6032500 w 6032500"/>
              <a:gd name="connsiteY3" fmla="*/ 139700 h 139700"/>
              <a:gd name="connsiteX0" fmla="*/ 0 w 6032500"/>
              <a:gd name="connsiteY0" fmla="*/ 151250 h 151250"/>
              <a:gd name="connsiteX1" fmla="*/ 725379 w 6032500"/>
              <a:gd name="connsiteY1" fmla="*/ 0 h 151250"/>
              <a:gd name="connsiteX2" fmla="*/ 5491537 w 6032500"/>
              <a:gd name="connsiteY2" fmla="*/ 13632 h 151250"/>
              <a:gd name="connsiteX3" fmla="*/ 6032500 w 6032500"/>
              <a:gd name="connsiteY3" fmla="*/ 151250 h 151250"/>
              <a:gd name="connsiteX0" fmla="*/ 0 w 6032500"/>
              <a:gd name="connsiteY0" fmla="*/ 151250 h 151250"/>
              <a:gd name="connsiteX1" fmla="*/ 725379 w 6032500"/>
              <a:gd name="connsiteY1" fmla="*/ 0 h 151250"/>
              <a:gd name="connsiteX2" fmla="*/ 5361278 w 6032500"/>
              <a:gd name="connsiteY2" fmla="*/ 13630 h 151250"/>
              <a:gd name="connsiteX3" fmla="*/ 6032500 w 6032500"/>
              <a:gd name="connsiteY3" fmla="*/ 151250 h 151250"/>
              <a:gd name="connsiteX0" fmla="*/ 0 w 6032500"/>
              <a:gd name="connsiteY0" fmla="*/ 168501 h 168501"/>
              <a:gd name="connsiteX1" fmla="*/ 725379 w 6032500"/>
              <a:gd name="connsiteY1" fmla="*/ 17251 h 168501"/>
              <a:gd name="connsiteX2" fmla="*/ 5371381 w 6032500"/>
              <a:gd name="connsiteY2" fmla="*/ 0 h 168501"/>
              <a:gd name="connsiteX3" fmla="*/ 6032500 w 6032500"/>
              <a:gd name="connsiteY3" fmla="*/ 168501 h 16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2500" h="168501">
                <a:moveTo>
                  <a:pt x="0" y="168501"/>
                </a:moveTo>
                <a:lnTo>
                  <a:pt x="725379" y="17251"/>
                </a:lnTo>
                <a:lnTo>
                  <a:pt x="5371381" y="0"/>
                </a:lnTo>
                <a:lnTo>
                  <a:pt x="6032500" y="168501"/>
                </a:lnTo>
              </a:path>
            </a:pathLst>
          </a:custGeom>
          <a:solidFill>
            <a:schemeClr val="bg2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buClr>
                <a:srgbClr val="000000"/>
              </a:buClr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254DE0-58C2-1F51-67C2-00DD7FBA39D4}"/>
              </a:ext>
            </a:extLst>
          </p:cNvPr>
          <p:cNvSpPr txBox="1">
            <a:spLocks/>
          </p:cNvSpPr>
          <p:nvPr/>
        </p:nvSpPr>
        <p:spPr>
          <a:xfrm>
            <a:off x="6689507" y="3493446"/>
            <a:ext cx="454007" cy="21491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0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3B3D3CD-2D55-210F-8DC6-3A04C5E898B4}"/>
              </a:ext>
            </a:extLst>
          </p:cNvPr>
          <p:cNvSpPr txBox="1">
            <a:spLocks/>
          </p:cNvSpPr>
          <p:nvPr/>
        </p:nvSpPr>
        <p:spPr>
          <a:xfrm>
            <a:off x="6987042" y="3753476"/>
            <a:ext cx="454007" cy="21491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0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B1EB0673-4993-5B6D-4FE0-C233539AFA17}"/>
              </a:ext>
            </a:extLst>
          </p:cNvPr>
          <p:cNvSpPr txBox="1">
            <a:spLocks/>
          </p:cNvSpPr>
          <p:nvPr/>
        </p:nvSpPr>
        <p:spPr>
          <a:xfrm>
            <a:off x="7402191" y="4104728"/>
            <a:ext cx="454007" cy="21491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0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80086C8-4D2A-4D71-84D1-34E98220097D}"/>
              </a:ext>
            </a:extLst>
          </p:cNvPr>
          <p:cNvSpPr txBox="1">
            <a:spLocks/>
          </p:cNvSpPr>
          <p:nvPr/>
        </p:nvSpPr>
        <p:spPr>
          <a:xfrm>
            <a:off x="7784343" y="4529596"/>
            <a:ext cx="454007" cy="21491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0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C06E1E86-667E-B534-C4C0-24D7C33350C9}"/>
              </a:ext>
            </a:extLst>
          </p:cNvPr>
          <p:cNvSpPr txBox="1">
            <a:spLocks/>
          </p:cNvSpPr>
          <p:nvPr/>
        </p:nvSpPr>
        <p:spPr>
          <a:xfrm>
            <a:off x="8246441" y="5076825"/>
            <a:ext cx="454007" cy="21491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0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F90BA796-FEDE-CC55-397E-6741D8BE319E}"/>
              </a:ext>
            </a:extLst>
          </p:cNvPr>
          <p:cNvSpPr txBox="1">
            <a:spLocks/>
          </p:cNvSpPr>
          <p:nvPr/>
        </p:nvSpPr>
        <p:spPr>
          <a:xfrm>
            <a:off x="8766696" y="5690183"/>
            <a:ext cx="454007" cy="21491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0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</a:t>
            </a:r>
          </a:p>
        </p:txBody>
      </p:sp>
      <p:sp>
        <p:nvSpPr>
          <p:cNvPr id="119" name="Freihandform 34">
            <a:extLst>
              <a:ext uri="{FF2B5EF4-FFF2-40B4-BE49-F238E27FC236}">
                <a16:creationId xmlns:a16="http://schemas.microsoft.com/office/drawing/2014/main" id="{194DD553-CDFB-44FF-38E9-83B94C515D7D}"/>
              </a:ext>
            </a:extLst>
          </p:cNvPr>
          <p:cNvSpPr>
            <a:spLocks/>
          </p:cNvSpPr>
          <p:nvPr/>
        </p:nvSpPr>
        <p:spPr>
          <a:xfrm flipH="1">
            <a:off x="7035558" y="3084806"/>
            <a:ext cx="2199998" cy="1649301"/>
          </a:xfrm>
          <a:custGeom>
            <a:avLst/>
            <a:gdLst>
              <a:gd name="connsiteX0" fmla="*/ 0 w 2286000"/>
              <a:gd name="connsiteY0" fmla="*/ 1838325 h 1957387"/>
              <a:gd name="connsiteX1" fmla="*/ 2286000 w 2286000"/>
              <a:gd name="connsiteY1" fmla="*/ 0 h 1957387"/>
              <a:gd name="connsiteX2" fmla="*/ 95250 w 2286000"/>
              <a:gd name="connsiteY2" fmla="*/ 1957387 h 1957387"/>
              <a:gd name="connsiteX0" fmla="*/ 0 w 2286000"/>
              <a:gd name="connsiteY0" fmla="*/ 1838325 h 1957387"/>
              <a:gd name="connsiteX1" fmla="*/ 2286000 w 2286000"/>
              <a:gd name="connsiteY1" fmla="*/ 0 h 1957387"/>
              <a:gd name="connsiteX2" fmla="*/ 2259806 w 2286000"/>
              <a:gd name="connsiteY2" fmla="*/ 23812 h 1957387"/>
              <a:gd name="connsiteX3" fmla="*/ 95250 w 2286000"/>
              <a:gd name="connsiteY3" fmla="*/ 1957387 h 1957387"/>
              <a:gd name="connsiteX0" fmla="*/ 0 w 2295525"/>
              <a:gd name="connsiteY0" fmla="*/ 1838325 h 1957387"/>
              <a:gd name="connsiteX1" fmla="*/ 2286000 w 2295525"/>
              <a:gd name="connsiteY1" fmla="*/ 0 h 1957387"/>
              <a:gd name="connsiteX2" fmla="*/ 2295525 w 2295525"/>
              <a:gd name="connsiteY2" fmla="*/ 7143 h 1957387"/>
              <a:gd name="connsiteX3" fmla="*/ 95250 w 2295525"/>
              <a:gd name="connsiteY3" fmla="*/ 1957387 h 1957387"/>
              <a:gd name="connsiteX0" fmla="*/ 0 w 2286000"/>
              <a:gd name="connsiteY0" fmla="*/ 1838325 h 1957387"/>
              <a:gd name="connsiteX1" fmla="*/ 2286000 w 2286000"/>
              <a:gd name="connsiteY1" fmla="*/ 0 h 1957387"/>
              <a:gd name="connsiteX2" fmla="*/ 2276475 w 2286000"/>
              <a:gd name="connsiteY2" fmla="*/ 21431 h 1957387"/>
              <a:gd name="connsiteX3" fmla="*/ 95250 w 2286000"/>
              <a:gd name="connsiteY3" fmla="*/ 1957387 h 1957387"/>
              <a:gd name="connsiteX0" fmla="*/ 0 w 2276475"/>
              <a:gd name="connsiteY0" fmla="*/ 1838325 h 1957387"/>
              <a:gd name="connsiteX1" fmla="*/ 2262188 w 2276475"/>
              <a:gd name="connsiteY1" fmla="*/ 0 h 1957387"/>
              <a:gd name="connsiteX2" fmla="*/ 2276475 w 2276475"/>
              <a:gd name="connsiteY2" fmla="*/ 21431 h 1957387"/>
              <a:gd name="connsiteX3" fmla="*/ 95250 w 2276475"/>
              <a:gd name="connsiteY3" fmla="*/ 1957387 h 1957387"/>
              <a:gd name="connsiteX0" fmla="*/ 0 w 2283619"/>
              <a:gd name="connsiteY0" fmla="*/ 1838325 h 1957387"/>
              <a:gd name="connsiteX1" fmla="*/ 2262188 w 2283619"/>
              <a:gd name="connsiteY1" fmla="*/ 0 h 1957387"/>
              <a:gd name="connsiteX2" fmla="*/ 2283619 w 2283619"/>
              <a:gd name="connsiteY2" fmla="*/ 9525 h 1957387"/>
              <a:gd name="connsiteX3" fmla="*/ 95250 w 2283619"/>
              <a:gd name="connsiteY3" fmla="*/ 1957387 h 1957387"/>
              <a:gd name="connsiteX0" fmla="*/ 0 w 2283619"/>
              <a:gd name="connsiteY0" fmla="*/ 1833562 h 1952624"/>
              <a:gd name="connsiteX1" fmla="*/ 2250281 w 2283619"/>
              <a:gd name="connsiteY1" fmla="*/ 0 h 1952624"/>
              <a:gd name="connsiteX2" fmla="*/ 2283619 w 2283619"/>
              <a:gd name="connsiteY2" fmla="*/ 4762 h 1952624"/>
              <a:gd name="connsiteX3" fmla="*/ 95250 w 2283619"/>
              <a:gd name="connsiteY3" fmla="*/ 1952624 h 1952624"/>
              <a:gd name="connsiteX0" fmla="*/ 0 w 2278856"/>
              <a:gd name="connsiteY0" fmla="*/ 1833562 h 1952624"/>
              <a:gd name="connsiteX1" fmla="*/ 2250281 w 2278856"/>
              <a:gd name="connsiteY1" fmla="*/ 0 h 1952624"/>
              <a:gd name="connsiteX2" fmla="*/ 2278856 w 2278856"/>
              <a:gd name="connsiteY2" fmla="*/ 7143 h 1952624"/>
              <a:gd name="connsiteX3" fmla="*/ 95250 w 2278856"/>
              <a:gd name="connsiteY3" fmla="*/ 1952624 h 1952624"/>
              <a:gd name="connsiteX0" fmla="*/ 0 w 2278856"/>
              <a:gd name="connsiteY0" fmla="*/ 1826419 h 1945481"/>
              <a:gd name="connsiteX1" fmla="*/ 2240756 w 2278856"/>
              <a:gd name="connsiteY1" fmla="*/ 2382 h 1945481"/>
              <a:gd name="connsiteX2" fmla="*/ 2278856 w 2278856"/>
              <a:gd name="connsiteY2" fmla="*/ 0 h 1945481"/>
              <a:gd name="connsiteX3" fmla="*/ 95250 w 2278856"/>
              <a:gd name="connsiteY3" fmla="*/ 1945481 h 1945481"/>
              <a:gd name="connsiteX0" fmla="*/ 0 w 2274094"/>
              <a:gd name="connsiteY0" fmla="*/ 1826419 h 1945481"/>
              <a:gd name="connsiteX1" fmla="*/ 2240756 w 2274094"/>
              <a:gd name="connsiteY1" fmla="*/ 2382 h 1945481"/>
              <a:gd name="connsiteX2" fmla="*/ 2274094 w 2274094"/>
              <a:gd name="connsiteY2" fmla="*/ 0 h 1945481"/>
              <a:gd name="connsiteX3" fmla="*/ 95250 w 2274094"/>
              <a:gd name="connsiteY3" fmla="*/ 1945481 h 1945481"/>
              <a:gd name="connsiteX0" fmla="*/ 0 w 2278856"/>
              <a:gd name="connsiteY0" fmla="*/ 1828801 h 1947863"/>
              <a:gd name="connsiteX1" fmla="*/ 2240756 w 2278856"/>
              <a:gd name="connsiteY1" fmla="*/ 4764 h 1947863"/>
              <a:gd name="connsiteX2" fmla="*/ 2278856 w 2278856"/>
              <a:gd name="connsiteY2" fmla="*/ 0 h 1947863"/>
              <a:gd name="connsiteX3" fmla="*/ 95250 w 2278856"/>
              <a:gd name="connsiteY3" fmla="*/ 1947863 h 1947863"/>
              <a:gd name="connsiteX0" fmla="*/ 0 w 2278856"/>
              <a:gd name="connsiteY0" fmla="*/ 1828801 h 1947863"/>
              <a:gd name="connsiteX1" fmla="*/ 2243137 w 2278856"/>
              <a:gd name="connsiteY1" fmla="*/ 4764 h 1947863"/>
              <a:gd name="connsiteX2" fmla="*/ 2278856 w 2278856"/>
              <a:gd name="connsiteY2" fmla="*/ 0 h 1947863"/>
              <a:gd name="connsiteX3" fmla="*/ 95250 w 2278856"/>
              <a:gd name="connsiteY3" fmla="*/ 1947863 h 1947863"/>
              <a:gd name="connsiteX0" fmla="*/ 0 w 2278856"/>
              <a:gd name="connsiteY0" fmla="*/ 1828801 h 1947863"/>
              <a:gd name="connsiteX1" fmla="*/ 2245518 w 2278856"/>
              <a:gd name="connsiteY1" fmla="*/ 1 h 1947863"/>
              <a:gd name="connsiteX2" fmla="*/ 2278856 w 2278856"/>
              <a:gd name="connsiteY2" fmla="*/ 0 h 1947863"/>
              <a:gd name="connsiteX3" fmla="*/ 95250 w 2278856"/>
              <a:gd name="connsiteY3" fmla="*/ 1947863 h 1947863"/>
              <a:gd name="connsiteX0" fmla="*/ 0 w 2278856"/>
              <a:gd name="connsiteY0" fmla="*/ 1828801 h 1947863"/>
              <a:gd name="connsiteX1" fmla="*/ 2238374 w 2278856"/>
              <a:gd name="connsiteY1" fmla="*/ 4764 h 1947863"/>
              <a:gd name="connsiteX2" fmla="*/ 2278856 w 2278856"/>
              <a:gd name="connsiteY2" fmla="*/ 0 h 1947863"/>
              <a:gd name="connsiteX3" fmla="*/ 95250 w 2278856"/>
              <a:gd name="connsiteY3" fmla="*/ 1947863 h 1947863"/>
              <a:gd name="connsiteX0" fmla="*/ 0 w 2276475"/>
              <a:gd name="connsiteY0" fmla="*/ 1828801 h 1947863"/>
              <a:gd name="connsiteX1" fmla="*/ 2238374 w 2276475"/>
              <a:gd name="connsiteY1" fmla="*/ 4764 h 1947863"/>
              <a:gd name="connsiteX2" fmla="*/ 2276475 w 2276475"/>
              <a:gd name="connsiteY2" fmla="*/ 0 h 1947863"/>
              <a:gd name="connsiteX3" fmla="*/ 95250 w 2276475"/>
              <a:gd name="connsiteY3" fmla="*/ 1947863 h 1947863"/>
              <a:gd name="connsiteX0" fmla="*/ 0 w 2274093"/>
              <a:gd name="connsiteY0" fmla="*/ 1826419 h 1945481"/>
              <a:gd name="connsiteX1" fmla="*/ 2238374 w 2274093"/>
              <a:gd name="connsiteY1" fmla="*/ 2382 h 1945481"/>
              <a:gd name="connsiteX2" fmla="*/ 2274093 w 2274093"/>
              <a:gd name="connsiteY2" fmla="*/ 0 h 1945481"/>
              <a:gd name="connsiteX3" fmla="*/ 95250 w 2274093"/>
              <a:gd name="connsiteY3" fmla="*/ 1945481 h 1945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74093" h="1945481">
                <a:moveTo>
                  <a:pt x="0" y="1826419"/>
                </a:moveTo>
                <a:lnTo>
                  <a:pt x="2238374" y="2382"/>
                </a:lnTo>
                <a:lnTo>
                  <a:pt x="2274093" y="0"/>
                </a:lnTo>
                <a:lnTo>
                  <a:pt x="95250" y="1945481"/>
                </a:lnTo>
              </a:path>
            </a:pathLst>
          </a:custGeom>
          <a:solidFill>
            <a:schemeClr val="accent6"/>
          </a:solidFill>
          <a:ln w="127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4B4B4B"/>
              </a:solidFill>
            </a:endParaRPr>
          </a:p>
        </p:txBody>
      </p:sp>
      <p:sp>
        <p:nvSpPr>
          <p:cNvPr id="120" name="Ellipse 33">
            <a:extLst>
              <a:ext uri="{FF2B5EF4-FFF2-40B4-BE49-F238E27FC236}">
                <a16:creationId xmlns:a16="http://schemas.microsoft.com/office/drawing/2014/main" id="{8D542B47-10DF-A92C-94F3-5F857CBC4610}"/>
              </a:ext>
            </a:extLst>
          </p:cNvPr>
          <p:cNvSpPr>
            <a:spLocks/>
          </p:cNvSpPr>
          <p:nvPr/>
        </p:nvSpPr>
        <p:spPr>
          <a:xfrm flipH="1">
            <a:off x="9111814" y="4616796"/>
            <a:ext cx="142264" cy="134889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endParaRPr lang="en-US" sz="1200" err="1">
              <a:solidFill>
                <a:srgbClr val="000000"/>
              </a:solidFill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33861FA4-B195-09C1-6050-6FCF4E47802C}"/>
              </a:ext>
            </a:extLst>
          </p:cNvPr>
          <p:cNvCxnSpPr>
            <a:cxnSpLocks/>
          </p:cNvCxnSpPr>
          <p:nvPr/>
        </p:nvCxnSpPr>
        <p:spPr>
          <a:xfrm flipH="1" flipV="1">
            <a:off x="8914332" y="4515050"/>
            <a:ext cx="0" cy="942943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EB26D4AC-E93D-A943-B69D-471C3EFFCE0D}"/>
              </a:ext>
            </a:extLst>
          </p:cNvPr>
          <p:cNvCxnSpPr>
            <a:cxnSpLocks/>
          </p:cNvCxnSpPr>
          <p:nvPr/>
        </p:nvCxnSpPr>
        <p:spPr>
          <a:xfrm flipH="1" flipV="1">
            <a:off x="8450911" y="4098283"/>
            <a:ext cx="0" cy="789991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CAF8314-8CAB-EE10-6E59-D923C3FF0501}"/>
              </a:ext>
            </a:extLst>
          </p:cNvPr>
          <p:cNvCxnSpPr>
            <a:cxnSpLocks/>
          </p:cNvCxnSpPr>
          <p:nvPr/>
        </p:nvCxnSpPr>
        <p:spPr>
          <a:xfrm flipH="1" flipV="1">
            <a:off x="8009262" y="3823970"/>
            <a:ext cx="0" cy="599978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809F153A-DE3C-B7C3-B25C-EF12022B3AB5}"/>
              </a:ext>
            </a:extLst>
          </p:cNvPr>
          <p:cNvCxnSpPr>
            <a:cxnSpLocks/>
          </p:cNvCxnSpPr>
          <p:nvPr/>
        </p:nvCxnSpPr>
        <p:spPr>
          <a:xfrm flipH="1" flipV="1">
            <a:off x="7632927" y="3519069"/>
            <a:ext cx="0" cy="521462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1ADA748E-F3DE-ADC1-5ACF-190B8E14B6D6}"/>
              </a:ext>
            </a:extLst>
          </p:cNvPr>
          <p:cNvCxnSpPr>
            <a:cxnSpLocks/>
          </p:cNvCxnSpPr>
          <p:nvPr/>
        </p:nvCxnSpPr>
        <p:spPr>
          <a:xfrm flipH="1" flipV="1">
            <a:off x="7281474" y="3252308"/>
            <a:ext cx="0" cy="466416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D158A835-1CDA-E87F-6DA9-8A8A11BE7C57}"/>
              </a:ext>
            </a:extLst>
          </p:cNvPr>
          <p:cNvCxnSpPr>
            <a:cxnSpLocks/>
          </p:cNvCxnSpPr>
          <p:nvPr/>
        </p:nvCxnSpPr>
        <p:spPr>
          <a:xfrm flipH="1" flipV="1">
            <a:off x="7054218" y="3081304"/>
            <a:ext cx="0" cy="405921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FFADAD81-9820-348A-FC97-CD42CBC68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Ladder to goal I</a:t>
            </a:r>
            <a:endParaRPr lang="en-US"/>
          </a:p>
        </p:txBody>
      </p:sp>
      <p:sp>
        <p:nvSpPr>
          <p:cNvPr id="63" name="Subtitle 2">
            <a:extLst>
              <a:ext uri="{FF2B5EF4-FFF2-40B4-BE49-F238E27FC236}">
                <a16:creationId xmlns:a16="http://schemas.microsoft.com/office/drawing/2014/main" id="{F20DFB2F-8AF1-77F6-A009-3B0E30D4FB6F}"/>
              </a:ext>
            </a:extLst>
          </p:cNvPr>
          <p:cNvSpPr txBox="1">
            <a:spLocks/>
          </p:cNvSpPr>
          <p:nvPr/>
        </p:nvSpPr>
        <p:spPr>
          <a:xfrm>
            <a:off x="9623000" y="2846627"/>
            <a:ext cx="2199739" cy="70788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800"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4" name="Subtitle 2">
            <a:extLst>
              <a:ext uri="{FF2B5EF4-FFF2-40B4-BE49-F238E27FC236}">
                <a16:creationId xmlns:a16="http://schemas.microsoft.com/office/drawing/2014/main" id="{B059B2DA-42D1-3CF7-B3E8-CABCCE4AA86F}"/>
              </a:ext>
            </a:extLst>
          </p:cNvPr>
          <p:cNvSpPr txBox="1">
            <a:spLocks/>
          </p:cNvSpPr>
          <p:nvPr/>
        </p:nvSpPr>
        <p:spPr>
          <a:xfrm>
            <a:off x="413528" y="2846627"/>
            <a:ext cx="2199739" cy="70788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800"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0" name="Freihandform 34">
            <a:extLst>
              <a:ext uri="{FF2B5EF4-FFF2-40B4-BE49-F238E27FC236}">
                <a16:creationId xmlns:a16="http://schemas.microsoft.com/office/drawing/2014/main" id="{741BD8B5-67A6-B476-EA3B-4BA1C63A9183}"/>
              </a:ext>
            </a:extLst>
          </p:cNvPr>
          <p:cNvSpPr>
            <a:spLocks/>
          </p:cNvSpPr>
          <p:nvPr/>
        </p:nvSpPr>
        <p:spPr>
          <a:xfrm>
            <a:off x="2907168" y="3079552"/>
            <a:ext cx="2199998" cy="1649301"/>
          </a:xfrm>
          <a:custGeom>
            <a:avLst/>
            <a:gdLst>
              <a:gd name="connsiteX0" fmla="*/ 0 w 2286000"/>
              <a:gd name="connsiteY0" fmla="*/ 1838325 h 1957387"/>
              <a:gd name="connsiteX1" fmla="*/ 2286000 w 2286000"/>
              <a:gd name="connsiteY1" fmla="*/ 0 h 1957387"/>
              <a:gd name="connsiteX2" fmla="*/ 95250 w 2286000"/>
              <a:gd name="connsiteY2" fmla="*/ 1957387 h 1957387"/>
              <a:gd name="connsiteX0" fmla="*/ 0 w 2286000"/>
              <a:gd name="connsiteY0" fmla="*/ 1838325 h 1957387"/>
              <a:gd name="connsiteX1" fmla="*/ 2286000 w 2286000"/>
              <a:gd name="connsiteY1" fmla="*/ 0 h 1957387"/>
              <a:gd name="connsiteX2" fmla="*/ 2259806 w 2286000"/>
              <a:gd name="connsiteY2" fmla="*/ 23812 h 1957387"/>
              <a:gd name="connsiteX3" fmla="*/ 95250 w 2286000"/>
              <a:gd name="connsiteY3" fmla="*/ 1957387 h 1957387"/>
              <a:gd name="connsiteX0" fmla="*/ 0 w 2295525"/>
              <a:gd name="connsiteY0" fmla="*/ 1838325 h 1957387"/>
              <a:gd name="connsiteX1" fmla="*/ 2286000 w 2295525"/>
              <a:gd name="connsiteY1" fmla="*/ 0 h 1957387"/>
              <a:gd name="connsiteX2" fmla="*/ 2295525 w 2295525"/>
              <a:gd name="connsiteY2" fmla="*/ 7143 h 1957387"/>
              <a:gd name="connsiteX3" fmla="*/ 95250 w 2295525"/>
              <a:gd name="connsiteY3" fmla="*/ 1957387 h 1957387"/>
              <a:gd name="connsiteX0" fmla="*/ 0 w 2286000"/>
              <a:gd name="connsiteY0" fmla="*/ 1838325 h 1957387"/>
              <a:gd name="connsiteX1" fmla="*/ 2286000 w 2286000"/>
              <a:gd name="connsiteY1" fmla="*/ 0 h 1957387"/>
              <a:gd name="connsiteX2" fmla="*/ 2276475 w 2286000"/>
              <a:gd name="connsiteY2" fmla="*/ 21431 h 1957387"/>
              <a:gd name="connsiteX3" fmla="*/ 95250 w 2286000"/>
              <a:gd name="connsiteY3" fmla="*/ 1957387 h 1957387"/>
              <a:gd name="connsiteX0" fmla="*/ 0 w 2276475"/>
              <a:gd name="connsiteY0" fmla="*/ 1838325 h 1957387"/>
              <a:gd name="connsiteX1" fmla="*/ 2262188 w 2276475"/>
              <a:gd name="connsiteY1" fmla="*/ 0 h 1957387"/>
              <a:gd name="connsiteX2" fmla="*/ 2276475 w 2276475"/>
              <a:gd name="connsiteY2" fmla="*/ 21431 h 1957387"/>
              <a:gd name="connsiteX3" fmla="*/ 95250 w 2276475"/>
              <a:gd name="connsiteY3" fmla="*/ 1957387 h 1957387"/>
              <a:gd name="connsiteX0" fmla="*/ 0 w 2283619"/>
              <a:gd name="connsiteY0" fmla="*/ 1838325 h 1957387"/>
              <a:gd name="connsiteX1" fmla="*/ 2262188 w 2283619"/>
              <a:gd name="connsiteY1" fmla="*/ 0 h 1957387"/>
              <a:gd name="connsiteX2" fmla="*/ 2283619 w 2283619"/>
              <a:gd name="connsiteY2" fmla="*/ 9525 h 1957387"/>
              <a:gd name="connsiteX3" fmla="*/ 95250 w 2283619"/>
              <a:gd name="connsiteY3" fmla="*/ 1957387 h 1957387"/>
              <a:gd name="connsiteX0" fmla="*/ 0 w 2283619"/>
              <a:gd name="connsiteY0" fmla="*/ 1833562 h 1952624"/>
              <a:gd name="connsiteX1" fmla="*/ 2250281 w 2283619"/>
              <a:gd name="connsiteY1" fmla="*/ 0 h 1952624"/>
              <a:gd name="connsiteX2" fmla="*/ 2283619 w 2283619"/>
              <a:gd name="connsiteY2" fmla="*/ 4762 h 1952624"/>
              <a:gd name="connsiteX3" fmla="*/ 95250 w 2283619"/>
              <a:gd name="connsiteY3" fmla="*/ 1952624 h 1952624"/>
              <a:gd name="connsiteX0" fmla="*/ 0 w 2278856"/>
              <a:gd name="connsiteY0" fmla="*/ 1833562 h 1952624"/>
              <a:gd name="connsiteX1" fmla="*/ 2250281 w 2278856"/>
              <a:gd name="connsiteY1" fmla="*/ 0 h 1952624"/>
              <a:gd name="connsiteX2" fmla="*/ 2278856 w 2278856"/>
              <a:gd name="connsiteY2" fmla="*/ 7143 h 1952624"/>
              <a:gd name="connsiteX3" fmla="*/ 95250 w 2278856"/>
              <a:gd name="connsiteY3" fmla="*/ 1952624 h 1952624"/>
              <a:gd name="connsiteX0" fmla="*/ 0 w 2278856"/>
              <a:gd name="connsiteY0" fmla="*/ 1826419 h 1945481"/>
              <a:gd name="connsiteX1" fmla="*/ 2240756 w 2278856"/>
              <a:gd name="connsiteY1" fmla="*/ 2382 h 1945481"/>
              <a:gd name="connsiteX2" fmla="*/ 2278856 w 2278856"/>
              <a:gd name="connsiteY2" fmla="*/ 0 h 1945481"/>
              <a:gd name="connsiteX3" fmla="*/ 95250 w 2278856"/>
              <a:gd name="connsiteY3" fmla="*/ 1945481 h 1945481"/>
              <a:gd name="connsiteX0" fmla="*/ 0 w 2274094"/>
              <a:gd name="connsiteY0" fmla="*/ 1826419 h 1945481"/>
              <a:gd name="connsiteX1" fmla="*/ 2240756 w 2274094"/>
              <a:gd name="connsiteY1" fmla="*/ 2382 h 1945481"/>
              <a:gd name="connsiteX2" fmla="*/ 2274094 w 2274094"/>
              <a:gd name="connsiteY2" fmla="*/ 0 h 1945481"/>
              <a:gd name="connsiteX3" fmla="*/ 95250 w 2274094"/>
              <a:gd name="connsiteY3" fmla="*/ 1945481 h 1945481"/>
              <a:gd name="connsiteX0" fmla="*/ 0 w 2278856"/>
              <a:gd name="connsiteY0" fmla="*/ 1828801 h 1947863"/>
              <a:gd name="connsiteX1" fmla="*/ 2240756 w 2278856"/>
              <a:gd name="connsiteY1" fmla="*/ 4764 h 1947863"/>
              <a:gd name="connsiteX2" fmla="*/ 2278856 w 2278856"/>
              <a:gd name="connsiteY2" fmla="*/ 0 h 1947863"/>
              <a:gd name="connsiteX3" fmla="*/ 95250 w 2278856"/>
              <a:gd name="connsiteY3" fmla="*/ 1947863 h 1947863"/>
              <a:gd name="connsiteX0" fmla="*/ 0 w 2278856"/>
              <a:gd name="connsiteY0" fmla="*/ 1828801 h 1947863"/>
              <a:gd name="connsiteX1" fmla="*/ 2243137 w 2278856"/>
              <a:gd name="connsiteY1" fmla="*/ 4764 h 1947863"/>
              <a:gd name="connsiteX2" fmla="*/ 2278856 w 2278856"/>
              <a:gd name="connsiteY2" fmla="*/ 0 h 1947863"/>
              <a:gd name="connsiteX3" fmla="*/ 95250 w 2278856"/>
              <a:gd name="connsiteY3" fmla="*/ 1947863 h 1947863"/>
              <a:gd name="connsiteX0" fmla="*/ 0 w 2278856"/>
              <a:gd name="connsiteY0" fmla="*/ 1828801 h 1947863"/>
              <a:gd name="connsiteX1" fmla="*/ 2245518 w 2278856"/>
              <a:gd name="connsiteY1" fmla="*/ 1 h 1947863"/>
              <a:gd name="connsiteX2" fmla="*/ 2278856 w 2278856"/>
              <a:gd name="connsiteY2" fmla="*/ 0 h 1947863"/>
              <a:gd name="connsiteX3" fmla="*/ 95250 w 2278856"/>
              <a:gd name="connsiteY3" fmla="*/ 1947863 h 1947863"/>
              <a:gd name="connsiteX0" fmla="*/ 0 w 2278856"/>
              <a:gd name="connsiteY0" fmla="*/ 1828801 h 1947863"/>
              <a:gd name="connsiteX1" fmla="*/ 2238374 w 2278856"/>
              <a:gd name="connsiteY1" fmla="*/ 4764 h 1947863"/>
              <a:gd name="connsiteX2" fmla="*/ 2278856 w 2278856"/>
              <a:gd name="connsiteY2" fmla="*/ 0 h 1947863"/>
              <a:gd name="connsiteX3" fmla="*/ 95250 w 2278856"/>
              <a:gd name="connsiteY3" fmla="*/ 1947863 h 1947863"/>
              <a:gd name="connsiteX0" fmla="*/ 0 w 2276475"/>
              <a:gd name="connsiteY0" fmla="*/ 1828801 h 1947863"/>
              <a:gd name="connsiteX1" fmla="*/ 2238374 w 2276475"/>
              <a:gd name="connsiteY1" fmla="*/ 4764 h 1947863"/>
              <a:gd name="connsiteX2" fmla="*/ 2276475 w 2276475"/>
              <a:gd name="connsiteY2" fmla="*/ 0 h 1947863"/>
              <a:gd name="connsiteX3" fmla="*/ 95250 w 2276475"/>
              <a:gd name="connsiteY3" fmla="*/ 1947863 h 1947863"/>
              <a:gd name="connsiteX0" fmla="*/ 0 w 2274093"/>
              <a:gd name="connsiteY0" fmla="*/ 1826419 h 1945481"/>
              <a:gd name="connsiteX1" fmla="*/ 2238374 w 2274093"/>
              <a:gd name="connsiteY1" fmla="*/ 2382 h 1945481"/>
              <a:gd name="connsiteX2" fmla="*/ 2274093 w 2274093"/>
              <a:gd name="connsiteY2" fmla="*/ 0 h 1945481"/>
              <a:gd name="connsiteX3" fmla="*/ 95250 w 2274093"/>
              <a:gd name="connsiteY3" fmla="*/ 1945481 h 1945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74093" h="1945481">
                <a:moveTo>
                  <a:pt x="0" y="1826419"/>
                </a:moveTo>
                <a:lnTo>
                  <a:pt x="2238374" y="2382"/>
                </a:lnTo>
                <a:lnTo>
                  <a:pt x="2274093" y="0"/>
                </a:lnTo>
                <a:lnTo>
                  <a:pt x="95250" y="1945481"/>
                </a:lnTo>
              </a:path>
            </a:pathLst>
          </a:custGeom>
          <a:solidFill>
            <a:schemeClr val="accent6"/>
          </a:solidFill>
          <a:ln w="127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4B4B4B"/>
              </a:solidFill>
            </a:endParaRPr>
          </a:p>
        </p:txBody>
      </p:sp>
      <p:sp>
        <p:nvSpPr>
          <p:cNvPr id="91" name="Ellipse 33">
            <a:extLst>
              <a:ext uri="{FF2B5EF4-FFF2-40B4-BE49-F238E27FC236}">
                <a16:creationId xmlns:a16="http://schemas.microsoft.com/office/drawing/2014/main" id="{45374EAD-7C9D-FE4C-E452-41E1D5105F1D}"/>
              </a:ext>
            </a:extLst>
          </p:cNvPr>
          <p:cNvSpPr>
            <a:spLocks/>
          </p:cNvSpPr>
          <p:nvPr/>
        </p:nvSpPr>
        <p:spPr>
          <a:xfrm>
            <a:off x="2886250" y="4610266"/>
            <a:ext cx="142264" cy="134889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endParaRPr lang="en-US" sz="1200" err="1">
              <a:solidFill>
                <a:srgbClr val="000000"/>
              </a:solidFill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AEFDD5BB-53AA-1F5C-7E67-6CA566C38A98}"/>
              </a:ext>
            </a:extLst>
          </p:cNvPr>
          <p:cNvCxnSpPr>
            <a:cxnSpLocks/>
          </p:cNvCxnSpPr>
          <p:nvPr/>
        </p:nvCxnSpPr>
        <p:spPr>
          <a:xfrm flipV="1">
            <a:off x="3228392" y="4509796"/>
            <a:ext cx="0" cy="942943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A50C918-0D7B-F8F1-929E-95077DAF10E1}"/>
              </a:ext>
            </a:extLst>
          </p:cNvPr>
          <p:cNvCxnSpPr>
            <a:cxnSpLocks/>
          </p:cNvCxnSpPr>
          <p:nvPr/>
        </p:nvCxnSpPr>
        <p:spPr>
          <a:xfrm flipV="1">
            <a:off x="3691813" y="4093029"/>
            <a:ext cx="0" cy="789991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7340B33C-A85C-9CDC-7CE6-1E0807DFA48C}"/>
              </a:ext>
            </a:extLst>
          </p:cNvPr>
          <p:cNvCxnSpPr>
            <a:cxnSpLocks/>
          </p:cNvCxnSpPr>
          <p:nvPr/>
        </p:nvCxnSpPr>
        <p:spPr>
          <a:xfrm flipV="1">
            <a:off x="4133462" y="3818716"/>
            <a:ext cx="0" cy="599978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3E595928-E244-F55E-D703-556E31E39B81}"/>
              </a:ext>
            </a:extLst>
          </p:cNvPr>
          <p:cNvCxnSpPr>
            <a:cxnSpLocks/>
          </p:cNvCxnSpPr>
          <p:nvPr/>
        </p:nvCxnSpPr>
        <p:spPr>
          <a:xfrm flipV="1">
            <a:off x="4509797" y="3513815"/>
            <a:ext cx="0" cy="521462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407E33F-DB3D-C8AA-C205-CFFEFC95327E}"/>
              </a:ext>
            </a:extLst>
          </p:cNvPr>
          <p:cNvCxnSpPr>
            <a:cxnSpLocks/>
          </p:cNvCxnSpPr>
          <p:nvPr/>
        </p:nvCxnSpPr>
        <p:spPr>
          <a:xfrm flipV="1">
            <a:off x="4861250" y="3265714"/>
            <a:ext cx="0" cy="453010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25E3A39-6D00-86C7-B9AB-511162D482A2}"/>
              </a:ext>
            </a:extLst>
          </p:cNvPr>
          <p:cNvCxnSpPr>
            <a:cxnSpLocks/>
          </p:cNvCxnSpPr>
          <p:nvPr/>
        </p:nvCxnSpPr>
        <p:spPr>
          <a:xfrm flipV="1">
            <a:off x="5088506" y="3076050"/>
            <a:ext cx="0" cy="405921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afik 12">
            <a:extLst>
              <a:ext uri="{FF2B5EF4-FFF2-40B4-BE49-F238E27FC236}">
                <a16:creationId xmlns:a16="http://schemas.microsoft.com/office/drawing/2014/main" id="{D8A8C746-423D-9E5B-0C4E-A6B441E37097}"/>
              </a:ext>
            </a:extLst>
          </p:cNvPr>
          <p:cNvGrpSpPr>
            <a:grpSpLocks/>
          </p:cNvGrpSpPr>
          <p:nvPr/>
        </p:nvGrpSpPr>
        <p:grpSpPr>
          <a:xfrm>
            <a:off x="5746222" y="1537644"/>
            <a:ext cx="743824" cy="743821"/>
            <a:chOff x="5733176" y="3048001"/>
            <a:chExt cx="743824" cy="743821"/>
          </a:xfrm>
          <a:solidFill>
            <a:schemeClr val="accent1"/>
          </a:solidFill>
        </p:grpSpPr>
        <p:sp>
          <p:nvSpPr>
            <p:cNvPr id="26" name="Freihandform: Form 16">
              <a:extLst>
                <a:ext uri="{FF2B5EF4-FFF2-40B4-BE49-F238E27FC236}">
                  <a16:creationId xmlns:a16="http://schemas.microsoft.com/office/drawing/2014/main" id="{931DDD94-6DA1-8A1B-070F-310D666A0971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17">
              <a:extLst>
                <a:ext uri="{FF2B5EF4-FFF2-40B4-BE49-F238E27FC236}">
                  <a16:creationId xmlns:a16="http://schemas.microsoft.com/office/drawing/2014/main" id="{73ECC8FB-8675-5D4E-BA6C-9D9EBD9FD719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ihandform: Form 18">
              <a:extLst>
                <a:ext uri="{FF2B5EF4-FFF2-40B4-BE49-F238E27FC236}">
                  <a16:creationId xmlns:a16="http://schemas.microsoft.com/office/drawing/2014/main" id="{F632EBC9-4E33-BEBA-17A9-5268D6F124B0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ihandform: Form 19">
              <a:extLst>
                <a:ext uri="{FF2B5EF4-FFF2-40B4-BE49-F238E27FC236}">
                  <a16:creationId xmlns:a16="http://schemas.microsoft.com/office/drawing/2014/main" id="{297C30A9-C6FD-631D-6309-3487F97DC449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Subtitle 2">
            <a:extLst>
              <a:ext uri="{FF2B5EF4-FFF2-40B4-BE49-F238E27FC236}">
                <a16:creationId xmlns:a16="http://schemas.microsoft.com/office/drawing/2014/main" id="{0ADDE682-0407-57A0-F440-B3156F2BC5FE}"/>
              </a:ext>
            </a:extLst>
          </p:cNvPr>
          <p:cNvSpPr txBox="1">
            <a:spLocks/>
          </p:cNvSpPr>
          <p:nvPr/>
        </p:nvSpPr>
        <p:spPr>
          <a:xfrm>
            <a:off x="6672796" y="1783357"/>
            <a:ext cx="5147614" cy="29933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</p:txBody>
      </p:sp>
      <p:cxnSp>
        <p:nvCxnSpPr>
          <p:cNvPr id="31" name="MIO_ARROW1">
            <a:extLst>
              <a:ext uri="{FF2B5EF4-FFF2-40B4-BE49-F238E27FC236}">
                <a16:creationId xmlns:a16="http://schemas.microsoft.com/office/drawing/2014/main" id="{02A74201-0063-FB6F-4FC8-5BCEE05F1917}"/>
              </a:ext>
            </a:extLst>
          </p:cNvPr>
          <p:cNvCxnSpPr>
            <a:cxnSpLocks/>
          </p:cNvCxnSpPr>
          <p:nvPr/>
        </p:nvCxnSpPr>
        <p:spPr>
          <a:xfrm flipV="1">
            <a:off x="411066" y="2355280"/>
            <a:ext cx="5120608" cy="3702620"/>
          </a:xfrm>
          <a:prstGeom prst="straightConnector1">
            <a:avLst/>
          </a:prstGeom>
          <a:ln w="6350" cap="sq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MIO_ARROW1">
            <a:extLst>
              <a:ext uri="{FF2B5EF4-FFF2-40B4-BE49-F238E27FC236}">
                <a16:creationId xmlns:a16="http://schemas.microsoft.com/office/drawing/2014/main" id="{0D726E1B-0763-13A1-B9C4-2B5E80EA3ABD}"/>
              </a:ext>
            </a:extLst>
          </p:cNvPr>
          <p:cNvCxnSpPr>
            <a:cxnSpLocks/>
          </p:cNvCxnSpPr>
          <p:nvPr/>
        </p:nvCxnSpPr>
        <p:spPr>
          <a:xfrm flipH="1" flipV="1">
            <a:off x="6704593" y="2355279"/>
            <a:ext cx="5120608" cy="3702620"/>
          </a:xfrm>
          <a:prstGeom prst="straightConnector1">
            <a:avLst/>
          </a:prstGeom>
          <a:ln w="6350" cap="sq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65290F8-D81F-A671-7137-AF4B9381BED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97063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ladders, stair, stairs, goals, process, processes, plan, plans</a:t>
            </a:r>
          </a:p>
        </p:txBody>
      </p:sp>
    </p:spTree>
    <p:extLst>
      <p:ext uri="{BB962C8B-B14F-4D97-AF65-F5344CB8AC3E}">
        <p14:creationId xmlns:p14="http://schemas.microsoft.com/office/powerpoint/2010/main" val="41306259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